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24"/>
  </p:notesMasterIdLst>
  <p:sldIdLst>
    <p:sldId id="256" r:id="rId3"/>
    <p:sldId id="300" r:id="rId4"/>
    <p:sldId id="275" r:id="rId5"/>
    <p:sldId id="276" r:id="rId6"/>
    <p:sldId id="277" r:id="rId7"/>
    <p:sldId id="280" r:id="rId8"/>
    <p:sldId id="282" r:id="rId9"/>
    <p:sldId id="283" r:id="rId10"/>
    <p:sldId id="284" r:id="rId11"/>
    <p:sldId id="287" r:id="rId12"/>
    <p:sldId id="289" r:id="rId13"/>
    <p:sldId id="292" r:id="rId14"/>
    <p:sldId id="293" r:id="rId15"/>
    <p:sldId id="294" r:id="rId16"/>
    <p:sldId id="295" r:id="rId17"/>
    <p:sldId id="296" r:id="rId18"/>
    <p:sldId id="298" r:id="rId19"/>
    <p:sldId id="299" r:id="rId20"/>
    <p:sldId id="257" r:id="rId21"/>
    <p:sldId id="297" r:id="rId22"/>
    <p:sldId id="301" r:id="rId23"/>
  </p:sldIdLst>
  <p:sldSz cx="12192000" cy="6858000"/>
  <p:notesSz cx="6858000" cy="9144000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E3BC"/>
    <a:srgbClr val="E9EED6"/>
    <a:srgbClr val="E7DCAE"/>
    <a:srgbClr val="FFFFCC"/>
    <a:srgbClr val="00FFFF"/>
    <a:srgbClr val="FF7C80"/>
    <a:srgbClr val="A50021"/>
    <a:srgbClr val="FF3300"/>
    <a:srgbClr val="E6DBAD"/>
    <a:srgbClr val="7490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98" d="100"/>
          <a:sy n="98" d="100"/>
        </p:scale>
        <p:origin x="108" y="4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9ADAD8-A299-4F81-9681-841D3765C802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C2756F-AF8A-4DAA-AA38-9DF4740DEAA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816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A94547-B751-47D3-BE12-6646377B9839}" type="slidenum"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1569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A94547-B751-47D3-BE12-6646377B9839}" type="slidenum"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47098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C920E0-9C34-4283-B8EA-3F9565A177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9701C47-7CBA-4512-AAD9-5FD3ADC4B8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5F75EEF-DDE2-40D6-953F-27EDC78E3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297AF4-8355-4F26-B668-DE1BEFA0B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24D8B2C-E155-4D17-ADB9-74D48474A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7995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194C85-B3F3-40E4-A561-D827E54F5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EE8FDC9-5CE6-4618-A9DB-FF7D3D7F5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22096D6-71C3-4DC9-9E97-43D3EA44F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84DABD6-F6C6-4754-9337-9ECB7AB2D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6E43781-8398-4ED5-849B-1BE59C6AA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373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6282175-AF37-4DDC-BD92-CC40B35312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C8B7583-185C-472C-93B4-8AF3A04BE2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9FC4549-3C1E-478D-9079-C3CE58398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487D6E0-126C-47F2-9AEB-FEE1B3918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1A31D2E-67BB-43C2-9B90-B733102CB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525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5209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8148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286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981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3602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7151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596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348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4F0D1DB-6051-4845-9D11-5CB3A605E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A7EA347-C6AA-4C89-9452-3DFE3F9FD8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33C57A-1A6D-4BB4-AA82-23149EC08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577F9B3-925D-4068-B044-A2D64DE9F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BB27EA1-FD1A-4FD7-B7AC-EBE02773C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09504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280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4622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083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DC431A-1B76-4CCF-A6F6-01572379F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D0B269F-47F3-4B10-8F9F-F61208EA93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764BD8-A821-443B-A902-06E054F00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C9B7A2C-601A-45F5-AA2C-32387E07E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0505BD0-F073-4757-B44C-61D27EE87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5480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C233DDF-BE99-4A25-ADA8-F4A63B93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3A09F5-91E6-4050-80F4-7D8C365724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9D9E8CF-561C-4D81-B8D8-FC0C0F1267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6A2F55A-C150-41A2-B5B9-C85F222EC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F8FEE5B-92DA-4CC7-BBE4-A9A718E81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E4F9AAE-387B-4C87-B5F7-90FC379FD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39314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FA61018-9C3C-44F5-AA42-36C7A17D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17C6EB7-3B7C-48CD-B0FF-71EC29E08D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9E5418D-64FF-47DC-BBE1-3319FB252E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04D7378-4CB1-47DD-BF34-D0B3916834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D9EDD54C-E857-40C2-B99E-819A006028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8CA238C-A1DD-487B-8D42-EFE3DAE54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886FED72-2A99-45AE-9935-564B75674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B5485435-314B-4491-A881-3E82B9407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0814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F1B776-9C23-46E0-8395-494F1D457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E4DEDE8-5E00-42E0-897C-EBF6AD685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EB5402E-B247-4626-AF26-031A16289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150A918-98DE-41EE-92A3-E780602A3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1973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2302CB8-95AF-4B32-A7AE-2D6B42776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4F130D2-C692-4E1E-99E2-A59443B6D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325C49-6657-41EA-8089-C59F42306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9784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BD6DE1-0601-4EC4-80B9-B31AC157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5174457-6AE9-4EF8-863D-0559488C13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238A40F-94F0-4AF9-A906-4BAF73CCD5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384869E-E5FB-4BC6-A757-082A33593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E6E7024-4505-428F-8F4F-FDED01E39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F2F56E1-2890-4A70-870C-1E3EE6223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3452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922F6C-578F-4C30-A421-000D2BAA6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3B086663-4725-4AD0-9305-A19D9C09F3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68B0BEB-7742-4E42-BF5A-B8B319135B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278BBA8-C44E-4793-9E03-91B916ABE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2BCB610-0628-4A99-AB48-5D93E0FC9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823B773-8D42-4E68-913E-1084F33FF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1841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C550187A-A967-4731-B2E6-8A5B8B4BD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9ACCE1F-6D61-4AD1-AD58-E179502CF3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B83E56F-76B6-4F5C-9B86-60B1E033A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BBC31-D3E4-443C-8A9F-52A183C90DBE}" type="datetimeFigureOut">
              <a:rPr lang="zh-CN" altLang="en-US" smtClean="0"/>
              <a:t>2018/11/6/Tue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B551167-47E9-4191-8B35-F18538FC3F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4E95A29-9905-46B2-B873-5A178AD172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8645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6/Tue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319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90000"/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extLst>
              <a:ext uri="{FF2B5EF4-FFF2-40B4-BE49-F238E27FC236}">
                <a16:creationId xmlns:a16="http://schemas.microsoft.com/office/drawing/2014/main" id="{4E154123-DEBA-47B9-9722-AD3161CFD623}"/>
              </a:ext>
            </a:extLst>
          </p:cNvPr>
          <p:cNvSpPr/>
          <p:nvPr/>
        </p:nvSpPr>
        <p:spPr>
          <a:xfrm>
            <a:off x="1276240" y="2632163"/>
            <a:ext cx="10126983" cy="118892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0"/>
                </a:schemeClr>
              </a:gs>
              <a:gs pos="69000">
                <a:schemeClr val="tx1">
                  <a:lumMod val="85000"/>
                  <a:lumOff val="15000"/>
                  <a:alpha val="59000"/>
                </a:schemeClr>
              </a:gs>
              <a:gs pos="27000">
                <a:schemeClr val="tx1">
                  <a:lumMod val="85000"/>
                  <a:lumOff val="15000"/>
                  <a:alpha val="59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5193BB7-1C61-488D-BD42-2894373D0663}"/>
              </a:ext>
            </a:extLst>
          </p:cNvPr>
          <p:cNvSpPr txBox="1"/>
          <p:nvPr/>
        </p:nvSpPr>
        <p:spPr>
          <a:xfrm>
            <a:off x="5225057" y="3206602"/>
            <a:ext cx="5281475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关系</a:t>
            </a:r>
            <a:r>
              <a:rPr lang="zh-CN" altLang="en-US" sz="320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图的类型</a:t>
            </a:r>
            <a:endParaRPr lang="en-US" altLang="zh-CN" sz="3200" dirty="0">
              <a:solidFill>
                <a:schemeClr val="bg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B2603DE-E4D6-452E-B1E9-F732BA442742}"/>
              </a:ext>
            </a:extLst>
          </p:cNvPr>
          <p:cNvSpPr/>
          <p:nvPr/>
        </p:nvSpPr>
        <p:spPr>
          <a:xfrm>
            <a:off x="5225056" y="2674062"/>
            <a:ext cx="954107" cy="5061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algn="r">
              <a:lnSpc>
                <a:spcPct val="150000"/>
              </a:lnSpc>
            </a:pPr>
            <a:r>
              <a:rPr lang="zh-CN" altLang="en-US" sz="20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图表篇</a:t>
            </a:r>
            <a:endParaRPr lang="en-US" altLang="zh-CN" sz="2000" dirty="0">
              <a:solidFill>
                <a:schemeClr val="bg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E96C171-EEBE-4E8F-BABA-0E1C16B8C1A4}"/>
              </a:ext>
            </a:extLst>
          </p:cNvPr>
          <p:cNvCxnSpPr>
            <a:cxnSpLocks/>
          </p:cNvCxnSpPr>
          <p:nvPr/>
        </p:nvCxnSpPr>
        <p:spPr>
          <a:xfrm>
            <a:off x="5225056" y="2798907"/>
            <a:ext cx="0" cy="956032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2351D4B2-AE9A-4AD5-9A83-7870F4DAF8E1}"/>
              </a:ext>
            </a:extLst>
          </p:cNvPr>
          <p:cNvCxnSpPr>
            <a:cxnSpLocks/>
          </p:cNvCxnSpPr>
          <p:nvPr/>
        </p:nvCxnSpPr>
        <p:spPr>
          <a:xfrm>
            <a:off x="5225056" y="3189018"/>
            <a:ext cx="3450367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>
            <a:extLst>
              <a:ext uri="{FF2B5EF4-FFF2-40B4-BE49-F238E27FC236}">
                <a16:creationId xmlns:a16="http://schemas.microsoft.com/office/drawing/2014/main" id="{550E3886-A09D-4C5C-9D4E-6BF42C230D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0757" y="2919389"/>
            <a:ext cx="1053102" cy="7320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864751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24497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集合关系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-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韦恩图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68545358-A48E-4BF7-83FB-4303FA52EE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30" y="635000"/>
            <a:ext cx="8890000" cy="622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2844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24497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集合关系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-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韦恩图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6CD98237-7C71-4184-9F54-3BF471C564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7944" y="1327521"/>
            <a:ext cx="6466056" cy="4849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7216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27574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集合关系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-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思维导图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408CBAF-D98B-4002-B50C-42B48FFC7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936" y="876300"/>
            <a:ext cx="9306128" cy="5816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0749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33730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耦合关系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-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表示紧密联系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4FE49CDF-4E14-4288-AD94-F042211F92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774" y="809827"/>
            <a:ext cx="9818451" cy="552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1994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耦合关系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346D6EB-99BC-4032-8BE8-A9717A3326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3104" y="624190"/>
            <a:ext cx="5805791" cy="5805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6612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循环关系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2B631C3-987C-40C6-A3A8-BFF2C85DAF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2238" y="1406862"/>
            <a:ext cx="7573250" cy="4254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4442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矩阵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3E3D0E62-D7BB-4D4C-BD13-06526D6612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7850" y="1187450"/>
            <a:ext cx="5956300" cy="448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8291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21419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逻辑门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-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流程图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7B0EF81-9AA9-4330-A2FF-EC27F0AF87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6649" y="0"/>
            <a:ext cx="532157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0770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21419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逻辑门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-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鱼骨图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339E132-7181-442A-B3F0-211ADDB0F8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" t="10996" r="530" b="9715"/>
          <a:stretch/>
        </p:blipFill>
        <p:spPr>
          <a:xfrm>
            <a:off x="1270986" y="1198485"/>
            <a:ext cx="9650027" cy="4882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9681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233678" y="2987189"/>
            <a:ext cx="57246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核心目的：你想让观众明白什么样的逻辑</a:t>
            </a:r>
          </a:p>
        </p:txBody>
      </p:sp>
    </p:spTree>
    <p:extLst>
      <p:ext uri="{BB962C8B-B14F-4D97-AF65-F5344CB8AC3E}">
        <p14:creationId xmlns:p14="http://schemas.microsoft.com/office/powerpoint/2010/main" val="34978520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对象 33" hidden="1">
            <a:extLst>
              <a:ext uri="{FF2B5EF4-FFF2-40B4-BE49-F238E27FC236}">
                <a16:creationId xmlns:a16="http://schemas.microsoft.com/office/drawing/2014/main" id="{817D4C47-1A96-4BA4-A462-C1796407368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6" imgW="262" imgH="262" progId="TCLayout.ActiveDocument.1">
                  <p:embed/>
                </p:oleObj>
              </mc:Choice>
              <mc:Fallback>
                <p:oleObj name="think-cell Slide" r:id="rId6" imgW="262" imgH="262" progId="TCLayout.ActiveDocument.1">
                  <p:embed/>
                  <p:pic>
                    <p:nvPicPr>
                      <p:cNvPr id="34" name="对象 33" hidden="1">
                        <a:extLst>
                          <a:ext uri="{FF2B5EF4-FFF2-40B4-BE49-F238E27FC236}">
                            <a16:creationId xmlns:a16="http://schemas.microsoft.com/office/drawing/2014/main" id="{817D4C47-1A96-4BA4-A462-C179640736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文本框 23">
            <a:extLst>
              <a:ext uri="{FF2B5EF4-FFF2-40B4-BE49-F238E27FC236}">
                <a16:creationId xmlns:a16="http://schemas.microsoft.com/office/drawing/2014/main" id="{F2717A50-C581-422A-9E8D-85C0AD98EC1C}"/>
              </a:ext>
            </a:extLst>
          </p:cNvPr>
          <p:cNvSpPr txBox="1"/>
          <p:nvPr/>
        </p:nvSpPr>
        <p:spPr>
          <a:xfrm>
            <a:off x="3153329" y="4215359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逻辑关系图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4F69490D-AFA9-4098-8576-06CE7F686F40}"/>
              </a:ext>
            </a:extLst>
          </p:cNvPr>
          <p:cNvSpPr txBox="1"/>
          <p:nvPr/>
        </p:nvSpPr>
        <p:spPr>
          <a:xfrm>
            <a:off x="8067713" y="4215359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数据图表</a:t>
            </a:r>
          </a:p>
        </p:txBody>
      </p:sp>
      <p:sp>
        <p:nvSpPr>
          <p:cNvPr id="3" name="标注: 右箭头 2">
            <a:extLst>
              <a:ext uri="{FF2B5EF4-FFF2-40B4-BE49-F238E27FC236}">
                <a16:creationId xmlns:a16="http://schemas.microsoft.com/office/drawing/2014/main" id="{07EBA5CC-7EC0-4126-83FE-D914D64B8A92}"/>
              </a:ext>
            </a:extLst>
          </p:cNvPr>
          <p:cNvSpPr/>
          <p:nvPr/>
        </p:nvSpPr>
        <p:spPr>
          <a:xfrm>
            <a:off x="2003657" y="2980252"/>
            <a:ext cx="1371600" cy="400110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8452"/>
            </a:avLst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标注: 右箭头 31">
            <a:extLst>
              <a:ext uri="{FF2B5EF4-FFF2-40B4-BE49-F238E27FC236}">
                <a16:creationId xmlns:a16="http://schemas.microsoft.com/office/drawing/2014/main" id="{6836CD41-108F-4FE6-AFE9-70CBFCD57692}"/>
              </a:ext>
            </a:extLst>
          </p:cNvPr>
          <p:cNvSpPr/>
          <p:nvPr/>
        </p:nvSpPr>
        <p:spPr>
          <a:xfrm>
            <a:off x="3375257" y="2980252"/>
            <a:ext cx="1371600" cy="400110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8452"/>
            </a:avLst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165FE0A5-9A2A-40AD-B7F3-633B2195E5DF}"/>
              </a:ext>
            </a:extLst>
          </p:cNvPr>
          <p:cNvSpPr/>
          <p:nvPr/>
        </p:nvSpPr>
        <p:spPr>
          <a:xfrm>
            <a:off x="4746857" y="2980252"/>
            <a:ext cx="1118681" cy="4001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6234D114-FD40-460F-A9EA-9462FF1F9790}"/>
              </a:ext>
            </a:extLst>
          </p:cNvPr>
          <p:cNvSpPr/>
          <p:nvPr/>
        </p:nvSpPr>
        <p:spPr>
          <a:xfrm>
            <a:off x="7684850" y="3139023"/>
            <a:ext cx="298557" cy="6222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8A92414-1472-444A-8A1F-A9C69D4DEA2B}"/>
              </a:ext>
            </a:extLst>
          </p:cNvPr>
          <p:cNvSpPr/>
          <p:nvPr/>
        </p:nvSpPr>
        <p:spPr>
          <a:xfrm>
            <a:off x="8258782" y="2496939"/>
            <a:ext cx="298557" cy="126428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248A1A2E-D102-440E-8FAC-145CAC07AEFA}"/>
              </a:ext>
            </a:extLst>
          </p:cNvPr>
          <p:cNvSpPr/>
          <p:nvPr/>
        </p:nvSpPr>
        <p:spPr>
          <a:xfrm>
            <a:off x="8832714" y="2728974"/>
            <a:ext cx="298557" cy="103225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2169F39F-7A8B-4DC9-9D09-EBA3286D548A}"/>
              </a:ext>
            </a:extLst>
          </p:cNvPr>
          <p:cNvSpPr/>
          <p:nvPr/>
        </p:nvSpPr>
        <p:spPr>
          <a:xfrm>
            <a:off x="9377463" y="2918298"/>
            <a:ext cx="298557" cy="84293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642011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120021" y="809305"/>
            <a:ext cx="57246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核心目的：你想让观众明白什么样的逻辑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0569277-5051-4531-8336-1830955B28F7}"/>
              </a:ext>
            </a:extLst>
          </p:cNvPr>
          <p:cNvSpPr txBox="1"/>
          <p:nvPr/>
        </p:nvSpPr>
        <p:spPr>
          <a:xfrm>
            <a:off x="2503658" y="1788731"/>
            <a:ext cx="7606570" cy="4093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先在纸上画出草图，再去找素材，不要拿着素材整理思路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素材可以修改，但不能将就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3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不论你要表达的逻辑有多么复杂，最重要的逻辑一定是简单逻辑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4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标题是结论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5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检查是否有歧义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6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对比和并列关系一般不要画逻辑关系图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7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远离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Smart Art</a:t>
            </a:r>
          </a:p>
        </p:txBody>
      </p:sp>
    </p:spTree>
    <p:extLst>
      <p:ext uri="{BB962C8B-B14F-4D97-AF65-F5344CB8AC3E}">
        <p14:creationId xmlns:p14="http://schemas.microsoft.com/office/powerpoint/2010/main" val="23626102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2925901" y="3094193"/>
            <a:ext cx="63401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让别人理解你的逻辑往往是一件非常困难的事</a:t>
            </a:r>
          </a:p>
        </p:txBody>
      </p:sp>
    </p:spTree>
    <p:extLst>
      <p:ext uri="{BB962C8B-B14F-4D97-AF65-F5344CB8AC3E}">
        <p14:creationId xmlns:p14="http://schemas.microsoft.com/office/powerpoint/2010/main" val="22697674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对象 33" hidden="1">
            <a:extLst>
              <a:ext uri="{FF2B5EF4-FFF2-40B4-BE49-F238E27FC236}">
                <a16:creationId xmlns:a16="http://schemas.microsoft.com/office/drawing/2014/main" id="{817D4C47-1A96-4BA4-A462-C1796407368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9263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6" imgW="262" imgH="262" progId="TCLayout.ActiveDocument.1">
                  <p:embed/>
                </p:oleObj>
              </mc:Choice>
              <mc:Fallback>
                <p:oleObj name="think-cell Slide" r:id="rId6" imgW="262" imgH="2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/>
          <p:cNvSpPr/>
          <p:nvPr/>
        </p:nvSpPr>
        <p:spPr>
          <a:xfrm>
            <a:off x="2849902" y="3221039"/>
            <a:ext cx="2363787" cy="485775"/>
          </a:xfrm>
          <a:prstGeom prst="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简单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cs"/>
              </a:rPr>
              <a:t>逻辑关系</a:t>
            </a:r>
          </a:p>
        </p:txBody>
      </p:sp>
      <p:sp>
        <p:nvSpPr>
          <p:cNvPr id="25" name="矩形 24"/>
          <p:cNvSpPr/>
          <p:nvPr/>
        </p:nvSpPr>
        <p:spPr>
          <a:xfrm>
            <a:off x="7194578" y="1907783"/>
            <a:ext cx="1276350" cy="485775"/>
          </a:xfrm>
          <a:prstGeom prst="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cs"/>
              </a:rPr>
              <a:t>递进</a:t>
            </a:r>
          </a:p>
        </p:txBody>
      </p:sp>
      <p:sp>
        <p:nvSpPr>
          <p:cNvPr id="26" name="矩形 25"/>
          <p:cNvSpPr/>
          <p:nvPr/>
        </p:nvSpPr>
        <p:spPr>
          <a:xfrm>
            <a:off x="7194578" y="2560902"/>
            <a:ext cx="1276350" cy="485775"/>
          </a:xfrm>
          <a:prstGeom prst="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cs"/>
              </a:rPr>
              <a:t>筛选</a:t>
            </a:r>
          </a:p>
        </p:txBody>
      </p:sp>
      <p:cxnSp>
        <p:nvCxnSpPr>
          <p:cNvPr id="27" name="直接连接符 26"/>
          <p:cNvCxnSpPr>
            <a:cxnSpLocks/>
          </p:cNvCxnSpPr>
          <p:nvPr/>
        </p:nvCxnSpPr>
        <p:spPr>
          <a:xfrm>
            <a:off x="5213689" y="3455563"/>
            <a:ext cx="1718311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/>
          <p:cNvCxnSpPr>
            <a:cxnSpLocks/>
          </p:cNvCxnSpPr>
          <p:nvPr/>
        </p:nvCxnSpPr>
        <p:spPr>
          <a:xfrm>
            <a:off x="6919299" y="871114"/>
            <a:ext cx="0" cy="515661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7871FC0A-FAE8-40AC-96D1-C4FE116DBEE3}"/>
              </a:ext>
            </a:extLst>
          </p:cNvPr>
          <p:cNvSpPr/>
          <p:nvPr/>
        </p:nvSpPr>
        <p:spPr>
          <a:xfrm>
            <a:off x="7194578" y="3200871"/>
            <a:ext cx="1276350" cy="485775"/>
          </a:xfrm>
          <a:prstGeom prst="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集合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思源黑体 CN Medium" panose="020B0600000000000000" pitchFamily="34" charset="-122"/>
              <a:ea typeface="思源黑体 CN Medium" panose="020B0600000000000000" pitchFamily="34" charset="-122"/>
              <a:cs typeface="+mn-cs"/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0580A79D-CB66-40B9-842F-A678519966E2}"/>
              </a:ext>
            </a:extLst>
          </p:cNvPr>
          <p:cNvSpPr/>
          <p:nvPr/>
        </p:nvSpPr>
        <p:spPr>
          <a:xfrm>
            <a:off x="7194578" y="3840840"/>
            <a:ext cx="1276350" cy="485775"/>
          </a:xfrm>
          <a:prstGeom prst="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cs"/>
              </a:rPr>
              <a:t>循环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876E2B15-1307-4CCB-98FE-DFABF07F64DF}"/>
              </a:ext>
            </a:extLst>
          </p:cNvPr>
          <p:cNvSpPr/>
          <p:nvPr/>
        </p:nvSpPr>
        <p:spPr>
          <a:xfrm>
            <a:off x="7194578" y="4480809"/>
            <a:ext cx="1276350" cy="485775"/>
          </a:xfrm>
          <a:prstGeom prst="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耦合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思源黑体 CN Medium" panose="020B0600000000000000" pitchFamily="34" charset="-122"/>
              <a:ea typeface="思源黑体 CN Medium" panose="020B0600000000000000" pitchFamily="34" charset="-122"/>
              <a:cs typeface="+mn-cs"/>
            </a:endParaRP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AD242413-6BE7-4C30-9A4F-966B16D48EA5}"/>
              </a:ext>
            </a:extLst>
          </p:cNvPr>
          <p:cNvSpPr/>
          <p:nvPr/>
        </p:nvSpPr>
        <p:spPr>
          <a:xfrm>
            <a:off x="7194578" y="1249690"/>
            <a:ext cx="1276350" cy="485775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solidFill>
              <a:schemeClr val="tx1">
                <a:lumMod val="50000"/>
                <a:lumOff val="50000"/>
                <a:alpha val="4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cs"/>
              </a:rPr>
              <a:t>并列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FF21C7F6-5F1A-4785-AAFD-433AF8780CC3}"/>
              </a:ext>
            </a:extLst>
          </p:cNvPr>
          <p:cNvSpPr/>
          <p:nvPr/>
        </p:nvSpPr>
        <p:spPr>
          <a:xfrm>
            <a:off x="7194578" y="616296"/>
            <a:ext cx="1276350" cy="485775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solidFill>
              <a:schemeClr val="tx1">
                <a:lumMod val="50000"/>
                <a:lumOff val="50000"/>
                <a:alpha val="4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cs"/>
              </a:rPr>
              <a:t>对比</a:t>
            </a:r>
          </a:p>
        </p:txBody>
      </p:sp>
      <p:cxnSp>
        <p:nvCxnSpPr>
          <p:cNvPr id="80" name="直接连接符 79">
            <a:extLst>
              <a:ext uri="{FF2B5EF4-FFF2-40B4-BE49-F238E27FC236}">
                <a16:creationId xmlns:a16="http://schemas.microsoft.com/office/drawing/2014/main" id="{12AF68A6-F080-470C-B15D-1D46B0B7AA5E}"/>
              </a:ext>
            </a:extLst>
          </p:cNvPr>
          <p:cNvCxnSpPr>
            <a:cxnSpLocks/>
          </p:cNvCxnSpPr>
          <p:nvPr/>
        </p:nvCxnSpPr>
        <p:spPr>
          <a:xfrm>
            <a:off x="6906599" y="871114"/>
            <a:ext cx="28797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直接连接符 82">
            <a:extLst>
              <a:ext uri="{FF2B5EF4-FFF2-40B4-BE49-F238E27FC236}">
                <a16:creationId xmlns:a16="http://schemas.microsoft.com/office/drawing/2014/main" id="{BE4D3D69-10CC-4E58-A3CF-6FCF409C6B06}"/>
              </a:ext>
            </a:extLst>
          </p:cNvPr>
          <p:cNvCxnSpPr>
            <a:cxnSpLocks/>
          </p:cNvCxnSpPr>
          <p:nvPr/>
        </p:nvCxnSpPr>
        <p:spPr>
          <a:xfrm>
            <a:off x="6906599" y="4747789"/>
            <a:ext cx="28797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直接连接符 83">
            <a:extLst>
              <a:ext uri="{FF2B5EF4-FFF2-40B4-BE49-F238E27FC236}">
                <a16:creationId xmlns:a16="http://schemas.microsoft.com/office/drawing/2014/main" id="{D685612F-5ECF-4D85-ADA4-E4DF9DE12701}"/>
              </a:ext>
            </a:extLst>
          </p:cNvPr>
          <p:cNvCxnSpPr>
            <a:cxnSpLocks/>
          </p:cNvCxnSpPr>
          <p:nvPr/>
        </p:nvCxnSpPr>
        <p:spPr>
          <a:xfrm>
            <a:off x="6906599" y="4101675"/>
            <a:ext cx="28797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直接连接符 84">
            <a:extLst>
              <a:ext uri="{FF2B5EF4-FFF2-40B4-BE49-F238E27FC236}">
                <a16:creationId xmlns:a16="http://schemas.microsoft.com/office/drawing/2014/main" id="{97FDD0EC-3D29-469C-91AC-501AF71715A7}"/>
              </a:ext>
            </a:extLst>
          </p:cNvPr>
          <p:cNvCxnSpPr>
            <a:cxnSpLocks/>
          </p:cNvCxnSpPr>
          <p:nvPr/>
        </p:nvCxnSpPr>
        <p:spPr>
          <a:xfrm>
            <a:off x="6906599" y="3455563"/>
            <a:ext cx="28797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直接连接符 85">
            <a:extLst>
              <a:ext uri="{FF2B5EF4-FFF2-40B4-BE49-F238E27FC236}">
                <a16:creationId xmlns:a16="http://schemas.microsoft.com/office/drawing/2014/main" id="{F34DC959-4891-4B54-9211-8E2D055D78BE}"/>
              </a:ext>
            </a:extLst>
          </p:cNvPr>
          <p:cNvCxnSpPr>
            <a:cxnSpLocks/>
          </p:cNvCxnSpPr>
          <p:nvPr/>
        </p:nvCxnSpPr>
        <p:spPr>
          <a:xfrm>
            <a:off x="6906599" y="2809451"/>
            <a:ext cx="28797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直接连接符 86">
            <a:extLst>
              <a:ext uri="{FF2B5EF4-FFF2-40B4-BE49-F238E27FC236}">
                <a16:creationId xmlns:a16="http://schemas.microsoft.com/office/drawing/2014/main" id="{15194EC6-15D7-4871-BF41-6904747F5F56}"/>
              </a:ext>
            </a:extLst>
          </p:cNvPr>
          <p:cNvCxnSpPr>
            <a:cxnSpLocks/>
          </p:cNvCxnSpPr>
          <p:nvPr/>
        </p:nvCxnSpPr>
        <p:spPr>
          <a:xfrm>
            <a:off x="6906599" y="2163339"/>
            <a:ext cx="28797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直接连接符 87">
            <a:extLst>
              <a:ext uri="{FF2B5EF4-FFF2-40B4-BE49-F238E27FC236}">
                <a16:creationId xmlns:a16="http://schemas.microsoft.com/office/drawing/2014/main" id="{065CAA25-CF6A-4C96-AE07-1215EED90B77}"/>
              </a:ext>
            </a:extLst>
          </p:cNvPr>
          <p:cNvCxnSpPr>
            <a:cxnSpLocks/>
          </p:cNvCxnSpPr>
          <p:nvPr/>
        </p:nvCxnSpPr>
        <p:spPr>
          <a:xfrm>
            <a:off x="6906599" y="1517227"/>
            <a:ext cx="28797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0" name="矩形 89">
            <a:extLst>
              <a:ext uri="{FF2B5EF4-FFF2-40B4-BE49-F238E27FC236}">
                <a16:creationId xmlns:a16="http://schemas.microsoft.com/office/drawing/2014/main" id="{D05D2ABC-BA57-465D-8926-B573CD090B6F}"/>
              </a:ext>
            </a:extLst>
          </p:cNvPr>
          <p:cNvSpPr/>
          <p:nvPr/>
        </p:nvSpPr>
        <p:spPr>
          <a:xfrm>
            <a:off x="7194578" y="5120778"/>
            <a:ext cx="1276350" cy="485775"/>
          </a:xfrm>
          <a:prstGeom prst="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cs"/>
              </a:rPr>
              <a:t>逻辑门</a:t>
            </a:r>
          </a:p>
        </p:txBody>
      </p:sp>
      <p:cxnSp>
        <p:nvCxnSpPr>
          <p:cNvPr id="91" name="直接连接符 90">
            <a:extLst>
              <a:ext uri="{FF2B5EF4-FFF2-40B4-BE49-F238E27FC236}">
                <a16:creationId xmlns:a16="http://schemas.microsoft.com/office/drawing/2014/main" id="{376D773F-15F7-4FBB-8D5A-1E1535008805}"/>
              </a:ext>
            </a:extLst>
          </p:cNvPr>
          <p:cNvCxnSpPr>
            <a:cxnSpLocks/>
          </p:cNvCxnSpPr>
          <p:nvPr/>
        </p:nvCxnSpPr>
        <p:spPr>
          <a:xfrm>
            <a:off x="6906599" y="5387758"/>
            <a:ext cx="28797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矩形 21">
            <a:extLst>
              <a:ext uri="{FF2B5EF4-FFF2-40B4-BE49-F238E27FC236}">
                <a16:creationId xmlns:a16="http://schemas.microsoft.com/office/drawing/2014/main" id="{CC7533A4-A13D-4EF5-BE63-F052EA72206A}"/>
              </a:ext>
            </a:extLst>
          </p:cNvPr>
          <p:cNvSpPr/>
          <p:nvPr/>
        </p:nvSpPr>
        <p:spPr>
          <a:xfrm>
            <a:off x="7194578" y="5760746"/>
            <a:ext cx="1276350" cy="485775"/>
          </a:xfrm>
          <a:prstGeom prst="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>
                <a:solidFill>
                  <a:prstClr val="black">
                    <a:lumMod val="65000"/>
                    <a:lumOff val="35000"/>
                  </a:prst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…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思源黑体 CN Medium" panose="020B0600000000000000" pitchFamily="34" charset="-122"/>
              <a:ea typeface="思源黑体 CN Medium" panose="020B0600000000000000" pitchFamily="34" charset="-122"/>
              <a:cs typeface="+mn-cs"/>
            </a:endParaRPr>
          </a:p>
        </p:txBody>
      </p: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5A52AB83-E911-46B0-9014-454C148DE864}"/>
              </a:ext>
            </a:extLst>
          </p:cNvPr>
          <p:cNvCxnSpPr>
            <a:cxnSpLocks/>
          </p:cNvCxnSpPr>
          <p:nvPr/>
        </p:nvCxnSpPr>
        <p:spPr>
          <a:xfrm>
            <a:off x="6906599" y="6027726"/>
            <a:ext cx="28797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5239718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2954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递进关系：逻辑递进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039A270-283D-460B-B5DD-BDA6E78EC9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7608" y="836579"/>
            <a:ext cx="7496783" cy="5622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531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2954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递进关系：逻辑递进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4C21443-3072-4220-94D4-DB27D9E548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2256" y="1122531"/>
            <a:ext cx="6577114" cy="4919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7966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2954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递进关系：时间递进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4808B21-AB1D-42C0-9A2C-6E52636776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9712"/>
            <a:ext cx="12192000" cy="383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4620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24497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筛选关系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-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金字塔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1DA472C-8769-4B9F-A3FE-2ABC5DC8BB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702" y="1028700"/>
            <a:ext cx="6572250" cy="48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2606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24497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筛选关系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-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漏斗图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3A72943-A3DB-4436-AD01-2CBD057B21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3594" y="1004887"/>
            <a:ext cx="8321173" cy="5580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1077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371992" y="272774"/>
            <a:ext cx="24497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筛选关系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-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漏斗图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326F750-B958-4F14-B916-8F730A0D9B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834" y="734439"/>
            <a:ext cx="8128000" cy="596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0251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77</TotalTime>
  <Words>201</Words>
  <Application>Microsoft Office PowerPoint</Application>
  <PresentationFormat>宽屏</PresentationFormat>
  <Paragraphs>47</Paragraphs>
  <Slides>21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33" baseType="lpstr">
      <vt:lpstr>等线</vt:lpstr>
      <vt:lpstr>等线 Light</vt:lpstr>
      <vt:lpstr>华文中宋</vt:lpstr>
      <vt:lpstr>思源黑体 CN Medium</vt:lpstr>
      <vt:lpstr>思源黑体 CN Normal</vt:lpstr>
      <vt:lpstr>宋体</vt:lpstr>
      <vt:lpstr>Arial</vt:lpstr>
      <vt:lpstr>Calibri</vt:lpstr>
      <vt:lpstr>Calibri Light</vt:lpstr>
      <vt:lpstr>Office 主题​​</vt:lpstr>
      <vt:lpstr>2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 Notag</dc:creator>
  <cp:lastModifiedBy>Li Notag</cp:lastModifiedBy>
  <cp:revision>109</cp:revision>
  <dcterms:created xsi:type="dcterms:W3CDTF">2018-08-23T10:08:30Z</dcterms:created>
  <dcterms:modified xsi:type="dcterms:W3CDTF">2018-11-06T09:09:25Z</dcterms:modified>
</cp:coreProperties>
</file>